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9" r:id="rId3"/>
    <p:sldId id="298" r:id="rId4"/>
    <p:sldId id="285" r:id="rId5"/>
    <p:sldId id="281" r:id="rId6"/>
    <p:sldId id="286" r:id="rId7"/>
    <p:sldId id="291" r:id="rId8"/>
    <p:sldId id="299" r:id="rId9"/>
    <p:sldId id="300" r:id="rId10"/>
    <p:sldId id="301" r:id="rId11"/>
    <p:sldId id="294" r:id="rId12"/>
    <p:sldId id="29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25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FEADC-65C6-4A76-B94B-60A114EE22AD}" type="datetimeFigureOut">
              <a:rPr lang="en-US" smtClean="0"/>
              <a:t>11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793F20-F917-4AE3-8CF3-35E510369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53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310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51744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106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067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594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062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41234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883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6000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1547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221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280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2487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00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6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6697889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28860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11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69098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9125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46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0476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03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51229B-416E-4AF8-837F-2882F165AD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BD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7591D81-FAE1-48AB-BD3A-E7954D99D3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Lesson 6 – Introduction to Seleniu</a:t>
            </a:r>
            <a:r>
              <a:rPr lang="en-US" sz="1800" dirty="0"/>
              <a:t>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572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Gri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45055" y="1338327"/>
            <a:ext cx="4909359" cy="464375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Runs multiple tests on different machines against different browsers and operating systems in parallel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upport s distributed test exec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Run tests in a distributed test execution environment</a:t>
            </a:r>
          </a:p>
          <a:p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531" y="1410143"/>
            <a:ext cx="4419364" cy="3918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this lesson, you have learnt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Selenium is a free (open source) automated testing suite for web applications across different browsers and platform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</a:t>
            </a:r>
            <a:r>
              <a:rPr lang="en-US" sz="2000" dirty="0"/>
              <a:t> is a collection of different tool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 IDE</a:t>
            </a:r>
            <a:r>
              <a:rPr lang="en-US" sz="2000" dirty="0"/>
              <a:t>, a Firefox add-on that you can only use in creating relatively simple test cases and test suite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</a:t>
            </a:r>
            <a:r>
              <a:rPr lang="en-US" sz="2000" dirty="0"/>
              <a:t> RC allows users to use programming languages in creating complex test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WebDriver</a:t>
            </a:r>
            <a:r>
              <a:rPr lang="en-US" sz="2000" dirty="0"/>
              <a:t>, allows test scripts to communicate directly to the browser, thereby controlling it from the OS level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b="1" dirty="0"/>
              <a:t>Selenium Grid </a:t>
            </a:r>
            <a:r>
              <a:rPr lang="en-US" sz="2000" dirty="0"/>
              <a:t>is used with Selenium RC to execute parallel tests across different browsers and operating systems.</a:t>
            </a:r>
          </a:p>
        </p:txBody>
      </p:sp>
    </p:spTree>
    <p:extLst>
      <p:ext uri="{BB962C8B-B14F-4D97-AF65-F5344CB8AC3E}">
        <p14:creationId xmlns:p14="http://schemas.microsoft.com/office/powerpoint/2010/main" val="3734572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r>
              <a:rPr lang="en-US" dirty="0"/>
              <a:t>Select the component which is NOT part of Selenium suit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C</a:t>
            </a:r>
          </a:p>
          <a:p>
            <a:pPr lvl="1"/>
            <a:r>
              <a:rPr lang="en-US" dirty="0"/>
              <a:t>Selenium Grid</a:t>
            </a:r>
          </a:p>
          <a:p>
            <a:pPr lvl="1"/>
            <a:r>
              <a:rPr lang="en-US" dirty="0"/>
              <a:t>Selenium Web</a:t>
            </a:r>
          </a:p>
          <a:p>
            <a:r>
              <a:rPr lang="en-US" dirty="0"/>
              <a:t>Question 2: True/False</a:t>
            </a:r>
          </a:p>
          <a:p>
            <a:pPr lvl="1"/>
            <a:r>
              <a:rPr lang="en-US" dirty="0"/>
              <a:t>Selenium is a set of tools that supports rapid  development of test automation scripts for web based applications.</a:t>
            </a:r>
          </a:p>
          <a:p>
            <a:r>
              <a:rPr lang="en-US" dirty="0"/>
              <a:t>Question 3: Fill in the Blanks</a:t>
            </a:r>
          </a:p>
          <a:p>
            <a:pPr lvl="1"/>
            <a:r>
              <a:rPr lang="en-US" dirty="0"/>
              <a:t>WebDriver, unlike Selenium RC, does not rely on _________ for autom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451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 to Selenium</a:t>
            </a:r>
          </a:p>
          <a:p>
            <a:r>
              <a:rPr lang="en-US" dirty="0"/>
              <a:t>What it is and what it is not </a:t>
            </a:r>
          </a:p>
          <a:p>
            <a:r>
              <a:rPr lang="en-US" dirty="0"/>
              <a:t>Landscape and Usag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emote Control (Selenium 1.0) </a:t>
            </a:r>
          </a:p>
          <a:p>
            <a:pPr lvl="1"/>
            <a:r>
              <a:rPr lang="en-US" dirty="0"/>
              <a:t>Selenium Web Driver (Selenium 2.0) </a:t>
            </a:r>
          </a:p>
          <a:p>
            <a:pPr lvl="1"/>
            <a:r>
              <a:rPr lang="en-US" dirty="0"/>
              <a:t>Selenium Grid  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526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/>
              <a:t>Introduction to Seleniu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3069" y="1107124"/>
            <a:ext cx="8845484" cy="464375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nvented by Jason R. Huggins, an engineer at </a:t>
            </a:r>
            <a:r>
              <a:rPr lang="en-US" dirty="0" err="1"/>
              <a:t>ThoughtWorks</a:t>
            </a:r>
            <a:r>
              <a:rPr lang="en-US" dirty="0"/>
              <a:t> 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hile working on testing a web application, to reduce the repetitious manual testing, he created a JavaScript program that would automatically control the browser's actions and named as the "</a:t>
            </a:r>
            <a:r>
              <a:rPr lang="en-US" b="1" dirty="0" err="1"/>
              <a:t>JavaScriptTestRunner</a:t>
            </a:r>
            <a:r>
              <a:rPr lang="en-US" dirty="0"/>
              <a:t>." &amp; later re-named as </a:t>
            </a:r>
            <a:r>
              <a:rPr lang="en-US" b="1" dirty="0"/>
              <a:t>Selenium Core</a:t>
            </a:r>
            <a:endParaRPr lang="en-US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Free (open source) automated testing suite for web applications across different browsers and platform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has a suite of tools which consists of the following: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IDE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RC (Remote Control), Also known as Selenium 1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Web driver or Selenium 2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Selenium Gri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est cases in selenium can be written in many popular programming languages supported by selenium like Java, C#, Ruby, Python etc.</a:t>
            </a:r>
          </a:p>
        </p:txBody>
      </p:sp>
    </p:spTree>
    <p:extLst>
      <p:ext uri="{BB962C8B-B14F-4D97-AF65-F5344CB8AC3E}">
        <p14:creationId xmlns:p14="http://schemas.microsoft.com/office/powerpoint/2010/main" val="3955128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 automates browsers. That's i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 is a portable testing API for web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b Application: Pure HTML &amp; JavaScript (No Flash, ActiveX, Silverlight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ily, it is for automating web applications for testing purposes, but is certainly not limited to just th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Open Source and Freew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s multiple browsers &amp; OS.</a:t>
            </a:r>
          </a:p>
          <a:p>
            <a:pPr lvl="2"/>
            <a:r>
              <a:rPr lang="en-US" sz="1600" dirty="0"/>
              <a:t>Browsers: Firefox, Chrome, IE, Safari, Opera, </a:t>
            </a:r>
            <a:r>
              <a:rPr lang="en-US" sz="1600" dirty="0" err="1"/>
              <a:t>PhantomJS</a:t>
            </a:r>
            <a:endParaRPr lang="en-US" sz="1600" dirty="0"/>
          </a:p>
          <a:p>
            <a:pPr lvl="2"/>
            <a:r>
              <a:rPr lang="en-US" sz="1600" dirty="0"/>
              <a:t>OS: Windows, MAC, Linux, Android, 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process Headless executio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027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 NOT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nium is NOT a Test T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Frame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installable softwa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is NOT a Programming Languag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803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/>
              <a:t>Landscape and Us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 is not just a single tool but a suite of software's, each catering to different testing needs of an organization. </a:t>
            </a:r>
            <a:r>
              <a:rPr lang="en-US" i="1" dirty="0"/>
              <a:t>It has four components:</a:t>
            </a:r>
          </a:p>
          <a:p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428" y="2659295"/>
            <a:ext cx="6789690" cy="3449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9680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/>
              <a:t>Overview of Selenium ID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efox plug in, allows you to record, play back, edit, and debug tests in brows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s you to record user actions on browser window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Selenium </a:t>
            </a:r>
            <a:r>
              <a:rPr lang="en-US" dirty="0"/>
              <a:t>default scripts are html (added JavaScript) and that is the script we are going to use it in selenium 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ason for availability of other language is, user can get the scripts for Selenium WebDriver/R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 also has a context menu (right-click) integrated with the Firefox browser, which allows the user to pick from a list of assertions and verifications for the selected locatio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464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Remote Control (Selenium 1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95399" y="1277988"/>
            <a:ext cx="4809512" cy="464375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Remote Control (RC) is a test tool that allows you to write automated web application UI tests in any programming language against any HTTP website using any mainstream JavaScript-enabled browser.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RC comes in two parts:</a:t>
            </a:r>
          </a:p>
          <a:p>
            <a:pPr lvl="2">
              <a:lnSpc>
                <a:spcPct val="100000"/>
              </a:lnSpc>
            </a:pPr>
            <a:r>
              <a:rPr lang="en-US" sz="1600" dirty="0"/>
              <a:t>A server which automatically launches and kills browsers, and acts as a HTTP proxy for web requests from them.</a:t>
            </a:r>
          </a:p>
          <a:p>
            <a:pPr lvl="2">
              <a:lnSpc>
                <a:spcPct val="100000"/>
              </a:lnSpc>
            </a:pPr>
            <a:r>
              <a:rPr lang="en-US" sz="1600" dirty="0"/>
              <a:t>Client libraries for your favorite computer language.</a:t>
            </a:r>
          </a:p>
          <a:p>
            <a:pPr lvl="1"/>
            <a:endParaRPr lang="en-US" sz="18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95" y="1519664"/>
            <a:ext cx="3789229" cy="4045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04236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Web Driver (Selenium 2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Selenium WebDriver proves itself to be better than both Selenium IDE and Selenium RC in many aspec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mplements a more modern and stable approach in automating the browser's ac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bDriver, unlike Selenium RC, does not rely on JavaScript for automation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controls the browser by directly communicating to i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010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6</TotalTime>
  <Words>562</Words>
  <Application>Microsoft Office PowerPoint</Application>
  <PresentationFormat>Widescreen</PresentationFormat>
  <Paragraphs>8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Verdana</vt:lpstr>
      <vt:lpstr>Wingdings</vt:lpstr>
      <vt:lpstr>Section slides</vt:lpstr>
      <vt:lpstr>think-cell Slide</vt:lpstr>
      <vt:lpstr>BDD</vt:lpstr>
      <vt:lpstr>Lesson Objectives</vt:lpstr>
      <vt:lpstr>2.1: Introduction to Selenium Introduction to Selenium</vt:lpstr>
      <vt:lpstr>2.1: Introduction To Selenium Selenium: What it is?</vt:lpstr>
      <vt:lpstr>2.1: Introduction To Selenium Selenium: What it is NOT?</vt:lpstr>
      <vt:lpstr>2.1: Introduction To Selenium Landscape and Usage</vt:lpstr>
      <vt:lpstr>2.1: Introduction To Selenium  Overview of Selenium IDE</vt:lpstr>
      <vt:lpstr>2.1: Introduction To Selenium  Selenium Remote Control (Selenium 1.0) </vt:lpstr>
      <vt:lpstr>2.1: Introduction To Selenium  Selenium Web Driver (Selenium 2.0) </vt:lpstr>
      <vt:lpstr>2.1: Introduction To Selenium  Selenium Grid</vt:lpstr>
      <vt:lpstr>Summary</vt:lpstr>
      <vt:lpstr>Review Ques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DD</dc:title>
  <dc:creator>Tembhare, Anjulata</dc:creator>
  <cp:lastModifiedBy>Dasari, Ramya</cp:lastModifiedBy>
  <cp:revision>3</cp:revision>
  <dcterms:created xsi:type="dcterms:W3CDTF">2018-05-03T06:33:42Z</dcterms:created>
  <dcterms:modified xsi:type="dcterms:W3CDTF">2018-11-29T10:05:10Z</dcterms:modified>
</cp:coreProperties>
</file>